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5"/>
  </p:notesMasterIdLst>
  <p:sldIdLst>
    <p:sldId id="2147197306" r:id="rId3"/>
    <p:sldId id="2147197202" r:id="rId4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58" d="100"/>
          <a:sy n="158" d="100"/>
        </p:scale>
        <p:origin x="252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DDA2C6-6679-4DCB-B0E3-FB6DBE0A1102}" type="datetimeFigureOut">
              <a:rPr lang="nb-NO" smtClean="0"/>
              <a:t>07.12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FD945A-9FB0-4B62-969A-3873CAFB004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40823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i="0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i="0" dirty="0"/>
          </a:p>
        </p:txBody>
      </p:sp>
    </p:spTree>
    <p:extLst>
      <p:ext uri="{BB962C8B-B14F-4D97-AF65-F5344CB8AC3E}">
        <p14:creationId xmlns:p14="http://schemas.microsoft.com/office/powerpoint/2010/main" val="14115679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200" b="1" dirty="0">
              <a:solidFill>
                <a:srgbClr val="281C2C"/>
              </a:solidFill>
              <a:latin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200" b="1" dirty="0">
              <a:solidFill>
                <a:srgbClr val="281C2C"/>
              </a:solidFill>
              <a:latin typeface="Arial" panose="020B0604020202020204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1221702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9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00172" y="2553186"/>
            <a:ext cx="8569629" cy="414338"/>
          </a:xfrm>
        </p:spPr>
        <p:txBody>
          <a:bodyPr anchor="b">
            <a:normAutofit/>
          </a:bodyPr>
          <a:lstStyle>
            <a:lvl1pPr algn="l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00173" y="3324721"/>
            <a:ext cx="5608065" cy="165576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54" indent="0" algn="ctr">
              <a:buNone/>
              <a:defRPr sz="2000"/>
            </a:lvl2pPr>
            <a:lvl3pPr marL="914310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2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936" b="89957" l="9583" r="8958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47" y="720001"/>
            <a:ext cx="1584103" cy="1077915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11046983" y="1188000"/>
            <a:ext cx="1144875" cy="4458600"/>
          </a:xfr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6069298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1195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2497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00172" y="2553186"/>
            <a:ext cx="8569629" cy="414338"/>
          </a:xfrm>
        </p:spPr>
        <p:txBody>
          <a:bodyPr anchor="b">
            <a:normAutofit/>
          </a:bodyPr>
          <a:lstStyle>
            <a:lvl1pPr algn="l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00173" y="3324721"/>
            <a:ext cx="5608065" cy="165576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54" indent="0" algn="ctr">
              <a:buNone/>
              <a:defRPr sz="2000"/>
            </a:lvl2pPr>
            <a:lvl3pPr marL="914310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2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936" b="89957" l="9583" r="8958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47" y="720001"/>
            <a:ext cx="1584103" cy="1077915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11046983" y="1188000"/>
            <a:ext cx="1144875" cy="4458600"/>
          </a:xfr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2302171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2727519" y="2553186"/>
            <a:ext cx="8569629" cy="414338"/>
          </a:xfrm>
        </p:spPr>
        <p:txBody>
          <a:bodyPr anchor="b">
            <a:normAutofit/>
          </a:bodyPr>
          <a:lstStyle>
            <a:lvl1pPr algn="r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689082" y="3324721"/>
            <a:ext cx="5608065" cy="1655762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54" indent="0" algn="ctr">
              <a:buNone/>
              <a:defRPr sz="2000"/>
            </a:lvl2pPr>
            <a:lvl3pPr marL="914310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2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47" y="720001"/>
            <a:ext cx="1584103" cy="107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2180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11488310" y="6495874"/>
            <a:ext cx="281794" cy="281776"/>
          </a:xfrm>
          <a:prstGeom prst="ellipse">
            <a:avLst/>
          </a:prstGeom>
          <a:solidFill>
            <a:srgbClr val="8989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3411649" y="6534817"/>
            <a:ext cx="5401027" cy="184666"/>
          </a:xfrm>
        </p:spPr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533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20136" y="1908000"/>
            <a:ext cx="10784050" cy="424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279961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3411649" y="6534817"/>
            <a:ext cx="5401027" cy="184666"/>
          </a:xfrm>
        </p:spPr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AC5317FD-5B86-4E40-A225-758EB397A7BA}"/>
              </a:ext>
            </a:extLst>
          </p:cNvPr>
          <p:cNvSpPr/>
          <p:nvPr userDrawn="1"/>
        </p:nvSpPr>
        <p:spPr>
          <a:xfrm>
            <a:off x="11408971" y="6400800"/>
            <a:ext cx="511662" cy="457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</p:spTree>
    <p:extLst>
      <p:ext uri="{BB962C8B-B14F-4D97-AF65-F5344CB8AC3E}">
        <p14:creationId xmlns:p14="http://schemas.microsoft.com/office/powerpoint/2010/main" val="16184314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720136" y="1818000"/>
            <a:ext cx="5275002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6229184" y="1818000"/>
            <a:ext cx="5275002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297863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720138" y="1818000"/>
            <a:ext cx="3528671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4347827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7975517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C8D1DCE6-F1EE-4498-8308-B996C895CC37}"/>
              </a:ext>
            </a:extLst>
          </p:cNvPr>
          <p:cNvSpPr/>
          <p:nvPr userDrawn="1"/>
        </p:nvSpPr>
        <p:spPr>
          <a:xfrm>
            <a:off x="11376313" y="6422573"/>
            <a:ext cx="533435" cy="3540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</p:spTree>
    <p:extLst>
      <p:ext uri="{BB962C8B-B14F-4D97-AF65-F5344CB8AC3E}">
        <p14:creationId xmlns:p14="http://schemas.microsoft.com/office/powerpoint/2010/main" val="41462185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1908239"/>
            <a:ext cx="12192000" cy="423953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333501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32014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3718" cy="6416002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9573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2727519" y="2553186"/>
            <a:ext cx="8569629" cy="414338"/>
          </a:xfrm>
        </p:spPr>
        <p:txBody>
          <a:bodyPr anchor="b">
            <a:normAutofit/>
          </a:bodyPr>
          <a:lstStyle>
            <a:lvl1pPr algn="r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689082" y="3324721"/>
            <a:ext cx="5608065" cy="1655762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54" indent="0" algn="ctr">
              <a:buNone/>
              <a:defRPr sz="2000"/>
            </a:lvl2pPr>
            <a:lvl3pPr marL="914310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2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47" y="720001"/>
            <a:ext cx="1584103" cy="107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3523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19741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54" indent="0">
              <a:buNone/>
              <a:defRPr sz="2000" b="1"/>
            </a:lvl2pPr>
            <a:lvl3pPr marL="914310" indent="0">
              <a:buNone/>
              <a:defRPr sz="1800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29184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54" indent="0">
              <a:buNone/>
              <a:defRPr sz="2000" b="1"/>
            </a:lvl2pPr>
            <a:lvl3pPr marL="914310" indent="0">
              <a:buNone/>
              <a:defRPr sz="1800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719741" y="2356866"/>
            <a:ext cx="5275002" cy="379013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6229184" y="2356866"/>
            <a:ext cx="5275002" cy="379013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371192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4463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F5A35FAA-705C-4C68-AA39-3609C7BA1245}"/>
              </a:ext>
            </a:extLst>
          </p:cNvPr>
          <p:cNvSpPr/>
          <p:nvPr userDrawn="1"/>
        </p:nvSpPr>
        <p:spPr>
          <a:xfrm>
            <a:off x="11376313" y="6422573"/>
            <a:ext cx="533435" cy="3540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</p:spTree>
    <p:extLst>
      <p:ext uri="{BB962C8B-B14F-4D97-AF65-F5344CB8AC3E}">
        <p14:creationId xmlns:p14="http://schemas.microsoft.com/office/powerpoint/2010/main" val="36608923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11488310" y="6495874"/>
            <a:ext cx="281794" cy="281776"/>
          </a:xfrm>
          <a:prstGeom prst="ellipse">
            <a:avLst/>
          </a:prstGeom>
          <a:solidFill>
            <a:srgbClr val="8989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3411649" y="6534817"/>
            <a:ext cx="5401027" cy="184666"/>
          </a:xfrm>
        </p:spPr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6376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20136" y="1908000"/>
            <a:ext cx="10784050" cy="424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279961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3411649" y="6534817"/>
            <a:ext cx="5401027" cy="184666"/>
          </a:xfrm>
        </p:spPr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DB070763-E895-4B62-A66E-81C3AE0C994B}"/>
              </a:ext>
            </a:extLst>
          </p:cNvPr>
          <p:cNvSpPr/>
          <p:nvPr userDrawn="1"/>
        </p:nvSpPr>
        <p:spPr>
          <a:xfrm>
            <a:off x="11321880" y="6368144"/>
            <a:ext cx="642299" cy="48985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</p:spTree>
    <p:extLst>
      <p:ext uri="{BB962C8B-B14F-4D97-AF65-F5344CB8AC3E}">
        <p14:creationId xmlns:p14="http://schemas.microsoft.com/office/powerpoint/2010/main" val="6251462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720136" y="1818000"/>
            <a:ext cx="5275002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6229184" y="1818000"/>
            <a:ext cx="5275002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015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720138" y="1818000"/>
            <a:ext cx="3528671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4347827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7975517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284311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1908239"/>
            <a:ext cx="12192000" cy="423953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333501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2854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3718" cy="6416002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3278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19741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54" indent="0">
              <a:buNone/>
              <a:defRPr sz="2000" b="1"/>
            </a:lvl2pPr>
            <a:lvl3pPr marL="914310" indent="0">
              <a:buNone/>
              <a:defRPr sz="1800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29184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54" indent="0">
              <a:buNone/>
              <a:defRPr sz="2000" b="1"/>
            </a:lvl2pPr>
            <a:lvl3pPr marL="914310" indent="0">
              <a:buNone/>
              <a:defRPr sz="1800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719741" y="2356866"/>
            <a:ext cx="5275002" cy="379013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6229184" y="2356866"/>
            <a:ext cx="5275002" cy="379013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545754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11488310" y="6495874"/>
            <a:ext cx="281794" cy="281776"/>
          </a:xfrm>
          <a:prstGeom prst="ellipse">
            <a:avLst/>
          </a:prstGeom>
          <a:solidFill>
            <a:srgbClr val="8989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prstClr val="white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0136" y="351548"/>
            <a:ext cx="10784050" cy="83681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0136" y="1818238"/>
            <a:ext cx="10784050" cy="43295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411649" y="6534817"/>
            <a:ext cx="540102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rgbClr val="C1C1C1"/>
                </a:solidFill>
              </a:defRPr>
            </a:lvl1pPr>
          </a:lstStyle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0986216" y="6534817"/>
            <a:ext cx="718095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nb-NO" dirty="0">
                <a:solidFill>
                  <a:prstClr val="white"/>
                </a:solidFill>
              </a:rPr>
              <a:t>s</a:t>
            </a:r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82" y="6547418"/>
            <a:ext cx="2027158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721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l" defTabSz="91431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69987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200" kern="1200">
          <a:solidFill>
            <a:srgbClr val="000000"/>
          </a:solidFill>
          <a:latin typeface="+mn-lt"/>
          <a:ea typeface="+mn-ea"/>
          <a:cs typeface="+mn-cs"/>
        </a:defRPr>
      </a:lvl1pPr>
      <a:lvl2pPr marL="485976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000" kern="1200">
          <a:solidFill>
            <a:srgbClr val="000000"/>
          </a:solidFill>
          <a:latin typeface="+mn-lt"/>
          <a:ea typeface="+mn-ea"/>
          <a:cs typeface="+mn-cs"/>
        </a:defRPr>
      </a:lvl2pPr>
      <a:lvl3pPr marL="701965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917954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1133944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350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2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11488310" y="6495874"/>
            <a:ext cx="281794" cy="281776"/>
          </a:xfrm>
          <a:prstGeom prst="ellipse">
            <a:avLst/>
          </a:prstGeom>
          <a:solidFill>
            <a:srgbClr val="8989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prstClr val="white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0136" y="351548"/>
            <a:ext cx="10784050" cy="83681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0136" y="1818238"/>
            <a:ext cx="10784050" cy="43295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411649" y="6534817"/>
            <a:ext cx="540102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rgbClr val="C1C1C1"/>
                </a:solidFill>
              </a:defRPr>
            </a:lvl1pPr>
          </a:lstStyle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0986216" y="6534817"/>
            <a:ext cx="718095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nb-NO" dirty="0">
                <a:solidFill>
                  <a:prstClr val="white"/>
                </a:solidFill>
              </a:rPr>
              <a:t>s</a:t>
            </a:r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82" y="6547418"/>
            <a:ext cx="2027158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751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sldNum="0" hdr="0" ftr="0" dt="0"/>
  <p:txStyles>
    <p:titleStyle>
      <a:lvl1pPr algn="l" defTabSz="91431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69987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200" kern="1200">
          <a:solidFill>
            <a:srgbClr val="000000"/>
          </a:solidFill>
          <a:latin typeface="+mn-lt"/>
          <a:ea typeface="+mn-ea"/>
          <a:cs typeface="+mn-cs"/>
        </a:defRPr>
      </a:lvl1pPr>
      <a:lvl2pPr marL="485976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000" kern="1200">
          <a:solidFill>
            <a:srgbClr val="000000"/>
          </a:solidFill>
          <a:latin typeface="+mn-lt"/>
          <a:ea typeface="+mn-ea"/>
          <a:cs typeface="+mn-cs"/>
        </a:defRPr>
      </a:lvl2pPr>
      <a:lvl3pPr marL="701965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917954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1133944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350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2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ssholder for innhold 6"/>
          <p:cNvSpPr>
            <a:spLocks noGrp="1"/>
          </p:cNvSpPr>
          <p:nvPr>
            <p:ph idx="1"/>
          </p:nvPr>
        </p:nvSpPr>
        <p:spPr>
          <a:xfrm>
            <a:off x="460261" y="1710579"/>
            <a:ext cx="11271483" cy="7673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ctr">
              <a:lnSpc>
                <a:spcPct val="95000"/>
              </a:lnSpc>
              <a:spcAft>
                <a:spcPts val="800"/>
              </a:spcAft>
              <a:buNone/>
              <a:defRPr/>
            </a:pPr>
            <a:r>
              <a:rPr lang="nb-NO" b="1" dirty="0">
                <a:solidFill>
                  <a:srgbClr val="037A94"/>
                </a:solidFill>
                <a:latin typeface="Graphik Semibold" panose="020B0703030202060203" pitchFamily="34" charset="0"/>
              </a:rPr>
              <a:t>Norm for informasjonssikkerhet og personvern i helse- og omsorgstjenesten –sektorens felles krav, verktøy og arena for informasjonssikkerhet og personvern</a:t>
            </a:r>
          </a:p>
          <a:p>
            <a:pPr marL="0" indent="0" algn="ctr">
              <a:lnSpc>
                <a:spcPct val="95000"/>
              </a:lnSpc>
              <a:spcAft>
                <a:spcPts val="800"/>
              </a:spcAft>
              <a:buNone/>
              <a:defRPr/>
            </a:pPr>
            <a:endParaRPr lang="nb-NO" sz="1400" b="1" dirty="0">
              <a:solidFill>
                <a:srgbClr val="037A94"/>
              </a:solidFill>
              <a:latin typeface="Arial" panose="020B0604020202020204" pitchFamily="34" charset="0"/>
            </a:endParaRPr>
          </a:p>
        </p:txBody>
      </p:sp>
      <p:grpSp>
        <p:nvGrpSpPr>
          <p:cNvPr id="41" name="Gruppe 40">
            <a:extLst>
              <a:ext uri="{FF2B5EF4-FFF2-40B4-BE49-F238E27FC236}">
                <a16:creationId xmlns:a16="http://schemas.microsoft.com/office/drawing/2014/main" id="{CB6D9944-12E4-4A8B-B4D8-C8516E65404B}"/>
              </a:ext>
            </a:extLst>
          </p:cNvPr>
          <p:cNvGrpSpPr/>
          <p:nvPr/>
        </p:nvGrpSpPr>
        <p:grpSpPr>
          <a:xfrm>
            <a:off x="6641482" y="2848863"/>
            <a:ext cx="5468983" cy="4418250"/>
            <a:chOff x="1691320" y="5363644"/>
            <a:chExt cx="7259469" cy="8837648"/>
          </a:xfrm>
        </p:grpSpPr>
        <p:sp>
          <p:nvSpPr>
            <p:cNvPr id="12" name="TekstSylinder 11">
              <a:extLst>
                <a:ext uri="{FF2B5EF4-FFF2-40B4-BE49-F238E27FC236}">
                  <a16:creationId xmlns:a16="http://schemas.microsoft.com/office/drawing/2014/main" id="{CFDE4EFE-B5D6-4321-8DE8-61AA9672C440}"/>
                </a:ext>
              </a:extLst>
            </p:cNvPr>
            <p:cNvSpPr txBox="1"/>
            <p:nvPr/>
          </p:nvSpPr>
          <p:spPr>
            <a:xfrm>
              <a:off x="1691320" y="6213598"/>
              <a:ext cx="7259469" cy="7987694"/>
            </a:xfrm>
            <a:prstGeom prst="rect">
              <a:avLst/>
            </a:prstGeom>
            <a:noFill/>
          </p:spPr>
          <p:txBody>
            <a:bodyPr vert="horz" wrap="square" lIns="273014" tIns="273014" rIns="273014" bIns="273014" rtlCol="0">
              <a:spAutoFit/>
            </a:bodyPr>
            <a:lstStyle/>
            <a:p>
              <a:pPr marL="0" marR="0" lvl="0" indent="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ormen skal opprettholde og forbedre sin relevans og sektorens tillit, gjennom å ha </a:t>
              </a:r>
            </a:p>
            <a:p>
              <a:pPr marL="228600" marR="0" lvl="0" indent="-22860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levante og oppdaterte krav</a:t>
              </a:r>
            </a:p>
            <a:p>
              <a:pPr marL="228600" marR="0" lvl="0" indent="-22860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ålrettet og oppdatert veiledning av høy faglig kvalitet</a:t>
              </a:r>
            </a:p>
            <a:p>
              <a:pPr marL="228600" marR="0" lvl="0" indent="-22860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ålrettede og nyttige kompetansehevingsaktiviteter</a:t>
              </a:r>
            </a:p>
            <a:p>
              <a:pPr marL="0" marR="0" lvl="0" indent="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Helse- og omsorgssektorens behov skal alltid være førende for Normen.</a:t>
              </a:r>
            </a:p>
            <a:p>
              <a:pPr marL="0" marR="0" lvl="0" indent="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Tx/>
                <a:buNone/>
                <a:tabLst/>
                <a:defRPr/>
              </a:pPr>
              <a:endPara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   </a:t>
              </a:r>
            </a:p>
            <a:p>
              <a:pPr marL="0" marR="0" lvl="0" indent="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Tx/>
                <a:buNone/>
                <a:tabLst/>
                <a:defRPr/>
              </a:pPr>
              <a:endPara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Tx/>
                <a:buNone/>
                <a:tabLst/>
                <a:defRPr/>
              </a:pPr>
              <a:endPara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Tx/>
                <a:buNone/>
                <a:tabLst/>
                <a:defRPr/>
              </a:pPr>
              <a:endPara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14" name="Gruppe 13">
              <a:extLst>
                <a:ext uri="{FF2B5EF4-FFF2-40B4-BE49-F238E27FC236}">
                  <a16:creationId xmlns:a16="http://schemas.microsoft.com/office/drawing/2014/main" id="{B737249B-8CAF-44CC-9F0D-29A1F5263875}"/>
                </a:ext>
              </a:extLst>
            </p:cNvPr>
            <p:cNvGrpSpPr/>
            <p:nvPr/>
          </p:nvGrpSpPr>
          <p:grpSpPr>
            <a:xfrm>
              <a:off x="1691320" y="5363644"/>
              <a:ext cx="5251734" cy="1194638"/>
              <a:chOff x="1593919" y="4768881"/>
              <a:chExt cx="5251734" cy="1194638"/>
            </a:xfrm>
          </p:grpSpPr>
          <p:pic>
            <p:nvPicPr>
              <p:cNvPr id="3" name="Grafikk 2" descr="Veiskilt">
                <a:extLst>
                  <a:ext uri="{FF2B5EF4-FFF2-40B4-BE49-F238E27FC236}">
                    <a16:creationId xmlns:a16="http://schemas.microsoft.com/office/drawing/2014/main" id="{22070C90-5367-470F-AB6F-9BBC8ABCCC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593919" y="4768881"/>
                <a:ext cx="1194638" cy="1194638"/>
              </a:xfrm>
              <a:prstGeom prst="rect">
                <a:avLst/>
              </a:prstGeom>
            </p:spPr>
          </p:pic>
          <p:sp>
            <p:nvSpPr>
              <p:cNvPr id="13" name="Rektangel 12">
                <a:extLst>
                  <a:ext uri="{FF2B5EF4-FFF2-40B4-BE49-F238E27FC236}">
                    <a16:creationId xmlns:a16="http://schemas.microsoft.com/office/drawing/2014/main" id="{2609A09F-8229-48DC-B433-662BFF339F9F}"/>
                  </a:ext>
                </a:extLst>
              </p:cNvPr>
              <p:cNvSpPr/>
              <p:nvPr/>
            </p:nvSpPr>
            <p:spPr>
              <a:xfrm>
                <a:off x="2849920" y="4950701"/>
                <a:ext cx="3995733" cy="80032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0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81C2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Calibri" panose="020F0502020204030204" pitchFamily="34" charset="0"/>
                  </a:rPr>
                  <a:t>Overordnet strategi</a:t>
                </a:r>
              </a:p>
            </p:txBody>
          </p:sp>
        </p:grpSp>
      </p:grpSp>
      <p:pic>
        <p:nvPicPr>
          <p:cNvPr id="26" name="Bilde 25">
            <a:extLst>
              <a:ext uri="{FF2B5EF4-FFF2-40B4-BE49-F238E27FC236}">
                <a16:creationId xmlns:a16="http://schemas.microsoft.com/office/drawing/2014/main" id="{6FC287E9-7855-4705-9916-E921B0A53F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683" y="503894"/>
            <a:ext cx="2857531" cy="1038238"/>
          </a:xfrm>
          <a:prstGeom prst="rect">
            <a:avLst/>
          </a:prstGeom>
        </p:spPr>
      </p:pic>
      <p:sp>
        <p:nvSpPr>
          <p:cNvPr id="37" name="Plassholder for innhold 6">
            <a:extLst>
              <a:ext uri="{FF2B5EF4-FFF2-40B4-BE49-F238E27FC236}">
                <a16:creationId xmlns:a16="http://schemas.microsoft.com/office/drawing/2014/main" id="{0FC07BF3-2967-4BED-A8BA-82DFF86E3FE3}"/>
              </a:ext>
            </a:extLst>
          </p:cNvPr>
          <p:cNvSpPr txBox="1">
            <a:spLocks/>
          </p:cNvSpPr>
          <p:nvPr/>
        </p:nvSpPr>
        <p:spPr>
          <a:xfrm>
            <a:off x="4311864" y="934568"/>
            <a:ext cx="7557744" cy="7673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40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4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972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4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404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836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268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265" rtl="0" eaLnBrk="1" fontAlgn="auto" latinLnBrk="0" hangingPunct="1">
              <a:lnSpc>
                <a:spcPct val="95000"/>
              </a:lnSpc>
              <a:spcBef>
                <a:spcPts val="250"/>
              </a:spcBef>
              <a:spcAft>
                <a:spcPts val="800"/>
              </a:spcAft>
              <a:buClr>
                <a:srgbClr val="0169E8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kumimoji="0" lang="nb-NO" sz="48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STRATEGI  </a:t>
            </a:r>
            <a:r>
              <a:rPr kumimoji="0" lang="nb-NO" sz="4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2023-2025</a:t>
            </a:r>
          </a:p>
        </p:txBody>
      </p: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593E2A03-F4D6-4EAA-8894-9910BAB89CFA}"/>
              </a:ext>
            </a:extLst>
          </p:cNvPr>
          <p:cNvGrpSpPr/>
          <p:nvPr/>
        </p:nvGrpSpPr>
        <p:grpSpPr>
          <a:xfrm>
            <a:off x="225888" y="2902856"/>
            <a:ext cx="6601337" cy="3346062"/>
            <a:chOff x="1227929" y="5953347"/>
            <a:chExt cx="8644520" cy="6692989"/>
          </a:xfrm>
        </p:grpSpPr>
        <p:sp>
          <p:nvSpPr>
            <p:cNvPr id="44" name="TekstSylinder 43">
              <a:extLst>
                <a:ext uri="{FF2B5EF4-FFF2-40B4-BE49-F238E27FC236}">
                  <a16:creationId xmlns:a16="http://schemas.microsoft.com/office/drawing/2014/main" id="{78CBBE3B-7FC7-4546-9853-4012D3BF32BC}"/>
                </a:ext>
              </a:extLst>
            </p:cNvPr>
            <p:cNvSpPr txBox="1"/>
            <p:nvPr/>
          </p:nvSpPr>
          <p:spPr>
            <a:xfrm>
              <a:off x="1227929" y="6721016"/>
              <a:ext cx="8644520" cy="5925320"/>
            </a:xfrm>
            <a:prstGeom prst="rect">
              <a:avLst/>
            </a:prstGeom>
            <a:noFill/>
          </p:spPr>
          <p:txBody>
            <a:bodyPr vert="horz" wrap="square" lIns="273014" tIns="273014" rIns="273014" bIns="273014" rtlCol="0">
              <a:spAutoFit/>
            </a:bodyPr>
            <a:lstStyle/>
            <a:p>
              <a:pPr marL="285722" marR="0" lvl="0" indent="-285722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 typeface="Arial" panose="020B0604020202020204" pitchFamily="34" charset="0"/>
                <a:buChar char="●"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yrke og forenkle arbeidet med informasjonssikkerhet og personvern </a:t>
              </a:r>
            </a:p>
            <a:p>
              <a:pPr marL="285722" marR="0" lvl="0" indent="-285722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 typeface="Arial" panose="020B0604020202020204" pitchFamily="34" charset="0"/>
                <a:buChar char="●"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idra til at virksomheter som følger Normen har egnede tekniske og organisatoriske tiltak på plass</a:t>
              </a:r>
            </a:p>
            <a:p>
              <a:pPr marL="285722" marR="0" lvl="0" indent="-285722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 typeface="Arial" panose="020B0604020202020204" pitchFamily="34" charset="0"/>
                <a:buChar char="●"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remme samhandling gjennom tillit i helse- og omsorgssektoren</a:t>
              </a:r>
            </a:p>
            <a:p>
              <a:pPr marL="285722" marR="0" lvl="0" indent="-285722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 typeface="Arial" panose="020B0604020202020204" pitchFamily="34" charset="0"/>
                <a:buChar char="●"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remme en balansert tilnærming til konfidensialitet, tilgjengelighet, integritet og robusthet</a:t>
              </a:r>
            </a:p>
            <a:p>
              <a:pPr marL="285722" marR="0" lvl="0" indent="-285722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 typeface="Arial" panose="020B0604020202020204" pitchFamily="34" charset="0"/>
                <a:buChar char="●"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idra til å understøtte gode helsetjenester, god pasientsikkerhet, kvalitetssikring, helsepersonellets læring, godt personvern og pasientens helsetjeneste</a:t>
              </a:r>
            </a:p>
          </p:txBody>
        </p:sp>
        <p:sp>
          <p:nvSpPr>
            <p:cNvPr id="47" name="Rektangel 46">
              <a:extLst>
                <a:ext uri="{FF2B5EF4-FFF2-40B4-BE49-F238E27FC236}">
                  <a16:creationId xmlns:a16="http://schemas.microsoft.com/office/drawing/2014/main" id="{03D45672-8B3C-4D14-B422-F46504A3B5C2}"/>
                </a:ext>
              </a:extLst>
            </p:cNvPr>
            <p:cNvSpPr/>
            <p:nvPr/>
          </p:nvSpPr>
          <p:spPr>
            <a:xfrm>
              <a:off x="2802456" y="5953347"/>
              <a:ext cx="5098848" cy="80032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0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Normen skal   </a:t>
              </a:r>
            </a:p>
          </p:txBody>
        </p:sp>
      </p:grpSp>
      <p:pic>
        <p:nvPicPr>
          <p:cNvPr id="49" name="Bilde 48">
            <a:extLst>
              <a:ext uri="{FF2B5EF4-FFF2-40B4-BE49-F238E27FC236}">
                <a16:creationId xmlns:a16="http://schemas.microsoft.com/office/drawing/2014/main" id="{18F97448-346B-4432-9E43-E7020F26938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350" y="2930333"/>
            <a:ext cx="255110" cy="44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1045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C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Content Placeholder 3"/>
          <p:cNvSpPr>
            <a:spLocks noGrp="1"/>
          </p:cNvSpPr>
          <p:nvPr>
            <p:ph sz="quarter" idx="19"/>
          </p:nvPr>
        </p:nvSpPr>
        <p:spPr>
          <a:xfrm>
            <a:off x="8757765" y="2073402"/>
            <a:ext cx="3805564" cy="830997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indent="0" defTabSz="914085">
              <a:spcAft>
                <a:spcPts val="500"/>
              </a:spcAft>
              <a:buNone/>
            </a:pPr>
            <a:r>
              <a:rPr lang="nb-NO" sz="1800" b="1" dirty="0">
                <a:solidFill>
                  <a:schemeClr val="bg1"/>
                </a:solidFill>
              </a:rPr>
              <a:t>Sektorens felles kravsett til informasjonssikkerhet og personvern</a:t>
            </a:r>
          </a:p>
        </p:txBody>
      </p:sp>
      <p:sp>
        <p:nvSpPr>
          <p:cNvPr id="43" name="Content Placeholder 3"/>
          <p:cNvSpPr>
            <a:spLocks noGrp="1"/>
          </p:cNvSpPr>
          <p:nvPr>
            <p:ph sz="quarter" idx="21"/>
          </p:nvPr>
        </p:nvSpPr>
        <p:spPr>
          <a:xfrm>
            <a:off x="4597407" y="2341924"/>
            <a:ext cx="2628925" cy="276999"/>
          </a:xfrm>
          <a:noFill/>
        </p:spPr>
        <p:txBody>
          <a:bodyPr vert="horz" wrap="none" lIns="0" tIns="0" rIns="0" bIns="0" rtlCol="0" anchor="ctr">
            <a:spAutoFit/>
          </a:bodyPr>
          <a:lstStyle/>
          <a:p>
            <a:pPr marL="0" indent="0" defTabSz="914085">
              <a:spcAft>
                <a:spcPts val="500"/>
              </a:spcAft>
              <a:buNone/>
            </a:pPr>
            <a:r>
              <a:rPr lang="nb-NO" sz="1800" b="1" dirty="0">
                <a:solidFill>
                  <a:schemeClr val="bg1"/>
                </a:solidFill>
              </a:rPr>
              <a:t>Prioriterte temaområder</a:t>
            </a:r>
            <a:endParaRPr lang="nb-NO" sz="1800" strike="sngStrike" dirty="0">
              <a:solidFill>
                <a:schemeClr val="bg1"/>
              </a:solidFill>
            </a:endParaRPr>
          </a:p>
        </p:txBody>
      </p:sp>
      <p:sp>
        <p:nvSpPr>
          <p:cNvPr id="44" name="Content Placeholder 3"/>
          <p:cNvSpPr>
            <a:spLocks noGrp="1"/>
          </p:cNvSpPr>
          <p:nvPr>
            <p:ph sz="quarter" idx="4294967295"/>
          </p:nvPr>
        </p:nvSpPr>
        <p:spPr>
          <a:xfrm>
            <a:off x="917965" y="2174228"/>
            <a:ext cx="2806755" cy="492443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indent="0" defTabSz="914085">
              <a:spcAft>
                <a:spcPts val="500"/>
              </a:spcAft>
              <a:buNone/>
            </a:pPr>
            <a:r>
              <a:rPr lang="nb-NO" sz="1600" b="1" dirty="0">
                <a:solidFill>
                  <a:schemeClr val="bg1"/>
                </a:solidFill>
              </a:rPr>
              <a:t>Forenkling, nyttige verktøy og kompetanseheving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285385" y="1442241"/>
            <a:ext cx="5568981" cy="2769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STRATEGISKE FOKUSOMRÅDER OG INITIATIVER</a:t>
            </a:r>
          </a:p>
        </p:txBody>
      </p:sp>
      <p:sp>
        <p:nvSpPr>
          <p:cNvPr id="47" name="Oval 46"/>
          <p:cNvSpPr/>
          <p:nvPr/>
        </p:nvSpPr>
        <p:spPr>
          <a:xfrm>
            <a:off x="4037264" y="2242614"/>
            <a:ext cx="457140" cy="457140"/>
          </a:xfrm>
          <a:prstGeom prst="ellipse">
            <a:avLst/>
          </a:prstGeom>
          <a:solidFill>
            <a:srgbClr val="281C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46" name="Oval 45"/>
          <p:cNvSpPr/>
          <p:nvPr/>
        </p:nvSpPr>
        <p:spPr>
          <a:xfrm>
            <a:off x="8131778" y="2235024"/>
            <a:ext cx="457140" cy="457141"/>
          </a:xfrm>
          <a:prstGeom prst="ellipse">
            <a:avLst/>
          </a:prstGeom>
          <a:solidFill>
            <a:srgbClr val="281C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52" name="Content Placeholder 3"/>
          <p:cNvSpPr>
            <a:spLocks noGrp="1"/>
          </p:cNvSpPr>
          <p:nvPr>
            <p:ph sz="quarter" idx="4294967295"/>
          </p:nvPr>
        </p:nvSpPr>
        <p:spPr>
          <a:xfrm>
            <a:off x="8386040" y="3053389"/>
            <a:ext cx="3409952" cy="2415731"/>
          </a:xfrm>
          <a:noFill/>
        </p:spPr>
        <p:txBody>
          <a:bodyPr vert="horz" lIns="179978" tIns="0" rIns="179978" bIns="179978" rtlCol="0">
            <a:noAutofit/>
          </a:bodyPr>
          <a:lstStyle/>
          <a:p>
            <a:r>
              <a:rPr lang="nb-NO" sz="1400" b="1" dirty="0">
                <a:solidFill>
                  <a:schemeClr val="tx1"/>
                </a:solidFill>
                <a:latin typeface="Arial" panose="020B0604020202020204"/>
              </a:rPr>
              <a:t>Utvikle og forvalte gode verktøy for oppfølging av etterlevelse av Normen</a:t>
            </a:r>
          </a:p>
          <a:p>
            <a:r>
              <a:rPr lang="nb-NO" sz="1400" b="1" dirty="0">
                <a:solidFill>
                  <a:schemeClr val="tx1"/>
                </a:solidFill>
                <a:latin typeface="Arial" panose="020B0604020202020204"/>
              </a:rPr>
              <a:t>Bidra til at helse – og personopplysninger behandles slik at det understøtter pasientsikkerhet og forsvarlig pasientbehandling </a:t>
            </a:r>
          </a:p>
          <a:p>
            <a:r>
              <a:rPr lang="nb-NO" sz="1400" b="1" dirty="0">
                <a:solidFill>
                  <a:schemeClr val="tx1"/>
                </a:solidFill>
              </a:rPr>
              <a:t>Tydeliggjøre og markedsføre hva Normen er</a:t>
            </a:r>
          </a:p>
          <a:p>
            <a:r>
              <a:rPr lang="nb-NO" sz="1400" b="1" dirty="0">
                <a:solidFill>
                  <a:schemeClr val="tx1"/>
                </a:solidFill>
              </a:rPr>
              <a:t>Samarbeid, koordinering og kobling med andre veiledningsaktører, kontrollinstanser og krav/rammeverk</a:t>
            </a:r>
          </a:p>
          <a:p>
            <a:pPr marL="0" indent="0">
              <a:buNone/>
            </a:pPr>
            <a:endParaRPr lang="nb-NO" sz="1400" b="1" dirty="0">
              <a:solidFill>
                <a:schemeClr val="tx1"/>
              </a:solidFill>
              <a:latin typeface="Arial" panose="020B0604020202020204"/>
            </a:endParaRPr>
          </a:p>
          <a:p>
            <a:pPr marL="0" indent="0">
              <a:buClr>
                <a:srgbClr val="002060"/>
              </a:buClr>
              <a:buNone/>
            </a:pPr>
            <a:br>
              <a:rPr lang="nb-NO" sz="1400" b="1" dirty="0">
                <a:solidFill>
                  <a:schemeClr val="tx1"/>
                </a:solidFill>
              </a:rPr>
            </a:br>
            <a:endParaRPr lang="nb-NO" sz="1400" b="1" dirty="0">
              <a:solidFill>
                <a:schemeClr val="tx1"/>
              </a:solidFill>
            </a:endParaRPr>
          </a:p>
        </p:txBody>
      </p:sp>
      <p:sp>
        <p:nvSpPr>
          <p:cNvPr id="55" name="Content Placeholder 3"/>
          <p:cNvSpPr txBox="1">
            <a:spLocks/>
          </p:cNvSpPr>
          <p:nvPr/>
        </p:nvSpPr>
        <p:spPr>
          <a:xfrm>
            <a:off x="216067" y="2850888"/>
            <a:ext cx="3889058" cy="3330430"/>
          </a:xfrm>
          <a:prstGeom prst="rect">
            <a:avLst/>
          </a:prstGeom>
          <a:noFill/>
        </p:spPr>
        <p:txBody>
          <a:bodyPr vert="horz" lIns="179978" tIns="0" rIns="179978" bIns="179978" rtlCol="0">
            <a:noAutofit/>
          </a:bodyPr>
          <a:lstStyle>
            <a:lvl1pPr marL="540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4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972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4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404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836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268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974" marR="0" lvl="0" indent="-269974" algn="l" defTabSz="914265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00206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obbe målrettet med kompetanseheving gjennom blant annet å se veiledningsmateriell og kompetanseheving i sammenheng</a:t>
            </a:r>
          </a:p>
          <a:p>
            <a:pPr marL="269974" marR="0" lvl="0" indent="-269974" algn="l" defTabSz="914265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00206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ære tilgjengelig og i tett dialog og samarbeid med sektoren og andre relevante aktører </a:t>
            </a: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69974" marR="0" lvl="0" indent="-269974" algn="l" defTabSz="914265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00206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rmens veiledningsmateriell skal 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ldes oppdatert </a:t>
            </a:r>
          </a:p>
          <a:p>
            <a:pPr marL="269974" marR="0" lvl="0" indent="-269974" algn="l" defTabSz="914265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00206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vikle og forvalte nyttige verktøy på normen.no og ha gode informative nettsider</a:t>
            </a:r>
          </a:p>
          <a:p>
            <a:pPr marL="269974" marR="0" lvl="0" indent="-269974" algn="l" defTabSz="914265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00206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gge til rette for arenaer for erfaringsdeling, samarbeid og deling av maler og vurderinger</a:t>
            </a:r>
          </a:p>
          <a:p>
            <a:pPr marL="269974" marR="0" lvl="0" indent="-269974" algn="l" defTabSz="914265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00206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69974" marR="0" lvl="0" indent="-269974" algn="l" defTabSz="914265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00206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69974" marR="0" lvl="0" indent="-269974" algn="l" defTabSz="914265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00206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002060"/>
              </a:buClr>
              <a:buSzTx/>
              <a:buFont typeface="Wingdings 2" panose="05020102010507070707" pitchFamily="18" charset="2"/>
              <a:buNone/>
              <a:tabLst/>
              <a:defRPr/>
            </a:pP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/>
          <p:cNvSpPr/>
          <p:nvPr/>
        </p:nvSpPr>
        <p:spPr>
          <a:xfrm>
            <a:off x="321868" y="2213899"/>
            <a:ext cx="457141" cy="457141"/>
          </a:xfrm>
          <a:prstGeom prst="ellipse">
            <a:avLst/>
          </a:prstGeom>
          <a:solidFill>
            <a:srgbClr val="281C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DCDED96-CB62-447F-A0F7-6E4504E7AAA8}"/>
              </a:ext>
            </a:extLst>
          </p:cNvPr>
          <p:cNvSpPr/>
          <p:nvPr/>
        </p:nvSpPr>
        <p:spPr>
          <a:xfrm>
            <a:off x="4105125" y="2904398"/>
            <a:ext cx="4019377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578" marR="0" lvl="0" indent="-228578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lpasset veiledning til sektorens små virksomheter</a:t>
            </a:r>
          </a:p>
          <a:p>
            <a:pPr marL="228578" marR="0" lvl="0" indent="-228578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tte fokus på sikkerhetskultur gjennom alle Normens virkemidler </a:t>
            </a: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28578" marR="0" lvl="0" indent="-228578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KT-beredskap og hendelseshåndtering </a:t>
            </a:r>
          </a:p>
          <a:p>
            <a:pPr marL="228578" marR="0" lvl="0" indent="-228578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ære p</a:t>
            </a:r>
            <a:r>
              <a:rPr kumimoji="0" lang="nb-NO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missleverandør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g gi tilpasset veiledning på anskaffelser og leverandøroppfølging</a:t>
            </a:r>
          </a:p>
          <a:p>
            <a:pPr marL="228578" marR="0" lvl="0" indent="-228578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gge til rette for og gi veiledning til å understøtte digital samhandling, bruk av ny teknologi og arbeidsformer</a:t>
            </a:r>
          </a:p>
          <a:p>
            <a:pPr marL="228578" marR="0" lvl="0" indent="-228578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reutvikle veiledningsmateriell på forskning</a:t>
            </a:r>
            <a:endParaRPr kumimoji="0" lang="nb-NO" sz="1400" b="1" i="0" u="none" strike="sng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28578" marR="0" lvl="0" indent="-228578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ølge med på og tilpasse til kommende EU-regelverk, inkludert EHDS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38AF8A9E-2F06-4D44-9E79-236BFBC75F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838" y="182022"/>
            <a:ext cx="2854474" cy="1037127"/>
          </a:xfrm>
          <a:prstGeom prst="rect">
            <a:avLst/>
          </a:prstGeom>
        </p:spPr>
      </p:pic>
      <p:sp>
        <p:nvSpPr>
          <p:cNvPr id="26" name="Plassholder for innhold 6">
            <a:extLst>
              <a:ext uri="{FF2B5EF4-FFF2-40B4-BE49-F238E27FC236}">
                <a16:creationId xmlns:a16="http://schemas.microsoft.com/office/drawing/2014/main" id="{23460451-8FE0-48C2-8409-024FB59E7F80}"/>
              </a:ext>
            </a:extLst>
          </p:cNvPr>
          <p:cNvSpPr txBox="1">
            <a:spLocks/>
          </p:cNvSpPr>
          <p:nvPr/>
        </p:nvSpPr>
        <p:spPr>
          <a:xfrm>
            <a:off x="4311864" y="619875"/>
            <a:ext cx="7557744" cy="7673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40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4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972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4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404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836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268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265" rtl="0" eaLnBrk="1" fontAlgn="auto" latinLnBrk="0" hangingPunct="1">
              <a:lnSpc>
                <a:spcPct val="95000"/>
              </a:lnSpc>
              <a:spcBef>
                <a:spcPts val="250"/>
              </a:spcBef>
              <a:spcAft>
                <a:spcPts val="800"/>
              </a:spcAft>
              <a:buClr>
                <a:srgbClr val="0169E8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kumimoji="0" lang="nb-NO" sz="48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STRATEGI   </a:t>
            </a:r>
            <a:r>
              <a:rPr kumimoji="0" lang="nb-NO" sz="4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2023-2025</a:t>
            </a:r>
          </a:p>
        </p:txBody>
      </p:sp>
    </p:spTree>
    <p:extLst>
      <p:ext uri="{BB962C8B-B14F-4D97-AF65-F5344CB8AC3E}">
        <p14:creationId xmlns:p14="http://schemas.microsoft.com/office/powerpoint/2010/main" val="233048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7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2.xml><?xml version="1.0" encoding="utf-8"?>
<a:theme xmlns:a="http://schemas.openxmlformats.org/drawingml/2006/main" name="15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</TotalTime>
  <Words>327</Words>
  <Application>Microsoft Office PowerPoint</Application>
  <PresentationFormat>Widescreen</PresentationFormat>
  <Paragraphs>47</Paragraphs>
  <Slides>2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</vt:i4>
      </vt:variant>
    </vt:vector>
  </HeadingPairs>
  <TitlesOfParts>
    <vt:vector size="9" baseType="lpstr">
      <vt:lpstr>Arial</vt:lpstr>
      <vt:lpstr>Calibri</vt:lpstr>
      <vt:lpstr>Graphik Semibold</vt:lpstr>
      <vt:lpstr>Wingdings 2</vt:lpstr>
      <vt:lpstr>17_PPTmal_DirektoratetEHelseV2-1</vt:lpstr>
      <vt:lpstr>15_PPTmal_DirektoratetEHelseV2-1</vt:lpstr>
      <vt:lpstr>think-cell Slide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Thea Rølsåsen</dc:creator>
  <cp:lastModifiedBy>Susanne Helland Flatøy</cp:lastModifiedBy>
  <cp:revision>2</cp:revision>
  <dcterms:created xsi:type="dcterms:W3CDTF">2022-11-30T11:00:27Z</dcterms:created>
  <dcterms:modified xsi:type="dcterms:W3CDTF">2024-12-07T13:58:31Z</dcterms:modified>
</cp:coreProperties>
</file>